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9" r:id="rId4"/>
  </p:sldIdLst>
  <p:sldSz cx="12192000" cy="6858000"/>
  <p:notesSz cx="6797675" cy="9926638"/>
  <p:custDataLst>
    <p:tags r:id="rId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120" d="100"/>
          <a:sy n="120" d="100"/>
        </p:scale>
        <p:origin x="120" y="2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alka, Alok" userId="8b5da368-fae3-431a-af6a-84f96258d6d9" providerId="ADAL" clId="{B3122BC5-A107-4E93-9A61-AC181665091F}"/>
    <pc:docChg chg="undo custSel modSld">
      <pc:chgData name="Mahalka, Alok" userId="8b5da368-fae3-431a-af6a-84f96258d6d9" providerId="ADAL" clId="{B3122BC5-A107-4E93-9A61-AC181665091F}" dt="2025-07-29T11:43:33.957" v="2529"/>
      <pc:docMkLst>
        <pc:docMk/>
      </pc:docMkLst>
      <pc:sldChg chg="addSp delSp modSp mod">
        <pc:chgData name="Mahalka, Alok" userId="8b5da368-fae3-431a-af6a-84f96258d6d9" providerId="ADAL" clId="{B3122BC5-A107-4E93-9A61-AC181665091F}" dt="2025-07-29T11:43:33.957" v="2529"/>
        <pc:sldMkLst>
          <pc:docMk/>
          <pc:sldMk cId="1886697496" sldId="259"/>
        </pc:sldMkLst>
        <pc:spChg chg="mod ord">
          <ac:chgData name="Mahalka, Alok" userId="8b5da368-fae3-431a-af6a-84f96258d6d9" providerId="ADAL" clId="{B3122BC5-A107-4E93-9A61-AC181665091F}" dt="2025-07-29T11:43:29.959" v="2227" actId="948"/>
          <ac:spMkLst>
            <pc:docMk/>
            <pc:sldMk cId="1886697496" sldId="259"/>
            <ac:spMk id="2" creationId="{233B0E35-C72A-C14B-6AF6-34F1F7DC4105}"/>
          </ac:spMkLst>
        </pc:spChg>
        <pc:spChg chg="add del mod modVis">
          <ac:chgData name="Mahalka, Alok" userId="8b5da368-fae3-431a-af6a-84f96258d6d9" providerId="ADAL" clId="{B3122BC5-A107-4E93-9A61-AC181665091F}" dt="2025-07-29T11:43:15.135" v="2184"/>
          <ac:spMkLst>
            <pc:docMk/>
            <pc:sldMk cId="1886697496" sldId="259"/>
            <ac:spMk id="13" creationId="{558C6555-EFB3-914C-5610-BD52E649D4F0}"/>
          </ac:spMkLst>
        </pc:spChg>
        <pc:spChg chg="add del mod modVis">
          <ac:chgData name="Mahalka, Alok" userId="8b5da368-fae3-431a-af6a-84f96258d6d9" providerId="ADAL" clId="{B3122BC5-A107-4E93-9A61-AC181665091F}" dt="2025-07-29T11:24:54.522" v="86"/>
          <ac:spMkLst>
            <pc:docMk/>
            <pc:sldMk cId="1886697496" sldId="259"/>
            <ac:spMk id="13" creationId="{6DFFA8EF-3E70-80C2-FD14-67192D412F8D}"/>
          </ac:spMkLst>
        </pc:spChg>
        <pc:spChg chg="add del mod modVis">
          <ac:chgData name="Mahalka, Alok" userId="8b5da368-fae3-431a-af6a-84f96258d6d9" providerId="ADAL" clId="{B3122BC5-A107-4E93-9A61-AC181665091F}" dt="2025-07-29T11:34:45.168" v="311"/>
          <ac:spMkLst>
            <pc:docMk/>
            <pc:sldMk cId="1886697496" sldId="259"/>
            <ac:spMk id="13" creationId="{7E192D13-E7BC-C1B7-44CD-EEF48CD2A1F7}"/>
          </ac:spMkLst>
        </pc:spChg>
        <pc:spChg chg="mod">
          <ac:chgData name="Mahalka, Alok" userId="8b5da368-fae3-431a-af6a-84f96258d6d9" providerId="ADAL" clId="{B3122BC5-A107-4E93-9A61-AC181665091F}" dt="2025-07-29T11:43:29.992" v="2257"/>
          <ac:spMkLst>
            <pc:docMk/>
            <pc:sldMk cId="1886697496" sldId="259"/>
            <ac:spMk id="14" creationId="{13CBE836-1135-42D8-2573-F33D146B35CF}"/>
          </ac:spMkLst>
        </pc:spChg>
        <pc:spChg chg="add del mod modVis">
          <ac:chgData name="Mahalka, Alok" userId="8b5da368-fae3-431a-af6a-84f96258d6d9" providerId="ADAL" clId="{B3122BC5-A107-4E93-9A61-AC181665091F}" dt="2025-07-29T11:43:30.023" v="2259"/>
          <ac:spMkLst>
            <pc:docMk/>
            <pc:sldMk cId="1886697496" sldId="259"/>
            <ac:spMk id="15" creationId="{88495487-542A-9A86-4C7E-0B835EC3ECA3}"/>
          </ac:spMkLst>
        </pc:spChg>
        <pc:spChg chg="del mod">
          <ac:chgData name="Mahalka, Alok" userId="8b5da368-fae3-431a-af6a-84f96258d6d9" providerId="ADAL" clId="{B3122BC5-A107-4E93-9A61-AC181665091F}" dt="2025-07-29T11:34:54.240" v="510"/>
          <ac:spMkLst>
            <pc:docMk/>
            <pc:sldMk cId="1886697496" sldId="259"/>
            <ac:spMk id="15" creationId="{C93A2730-A098-7E39-87F9-77D09BA449CE}"/>
          </ac:spMkLst>
        </pc:spChg>
        <pc:spChg chg="mod">
          <ac:chgData name="Mahalka, Alok" userId="8b5da368-fae3-431a-af6a-84f96258d6d9" providerId="ADAL" clId="{B3122BC5-A107-4E93-9A61-AC181665091F}" dt="2025-07-29T11:43:33.936" v="2493"/>
          <ac:spMkLst>
            <pc:docMk/>
            <pc:sldMk cId="1886697496" sldId="259"/>
            <ac:spMk id="16" creationId="{F3A9A3D4-B61D-87F2-915D-F999FE96E25C}"/>
          </ac:spMkLst>
        </pc:spChg>
        <pc:spChg chg="mod">
          <ac:chgData name="Mahalka, Alok" userId="8b5da368-fae3-431a-af6a-84f96258d6d9" providerId="ADAL" clId="{B3122BC5-A107-4E93-9A61-AC181665091F}" dt="2025-07-29T11:43:33.936" v="2489"/>
          <ac:spMkLst>
            <pc:docMk/>
            <pc:sldMk cId="1886697496" sldId="259"/>
            <ac:spMk id="17" creationId="{D237C8D8-ECEE-99EF-891B-72354F890DCD}"/>
          </ac:spMkLst>
        </pc:spChg>
        <pc:spChg chg="add del mod modVis">
          <ac:chgData name="Mahalka, Alok" userId="8b5da368-fae3-431a-af6a-84f96258d6d9" providerId="ADAL" clId="{B3122BC5-A107-4E93-9A61-AC181665091F}" dt="2025-07-29T11:43:33.957" v="2527"/>
          <ac:spMkLst>
            <pc:docMk/>
            <pc:sldMk cId="1886697496" sldId="259"/>
            <ac:spMk id="18" creationId="{B1A9199E-03FE-8E06-C6E3-F1A9B07CBDED}"/>
          </ac:spMkLst>
        </pc:spChg>
        <pc:spChg chg="del mod">
          <ac:chgData name="Mahalka, Alok" userId="8b5da368-fae3-431a-af6a-84f96258d6d9" providerId="ADAL" clId="{B3122BC5-A107-4E93-9A61-AC181665091F}" dt="2025-07-29T11:34:54.254" v="516"/>
          <ac:spMkLst>
            <pc:docMk/>
            <pc:sldMk cId="1886697496" sldId="259"/>
            <ac:spMk id="18" creationId="{B527DDD3-B2B5-60B8-78E5-EC39EAAB7070}"/>
          </ac:spMkLst>
        </pc:spChg>
        <pc:spChg chg="mod">
          <ac:chgData name="Mahalka, Alok" userId="8b5da368-fae3-431a-af6a-84f96258d6d9" providerId="ADAL" clId="{B3122BC5-A107-4E93-9A61-AC181665091F}" dt="2025-07-29T11:43:33.952" v="2509"/>
          <ac:spMkLst>
            <pc:docMk/>
            <pc:sldMk cId="1886697496" sldId="259"/>
            <ac:spMk id="19" creationId="{2EB32C39-1AFE-48B6-51FC-5E7D873B3462}"/>
          </ac:spMkLst>
        </pc:spChg>
        <pc:spChg chg="mod">
          <ac:chgData name="Mahalka, Alok" userId="8b5da368-fae3-431a-af6a-84f96258d6d9" providerId="ADAL" clId="{B3122BC5-A107-4E93-9A61-AC181665091F}" dt="2025-07-29T11:43:33.952" v="2505"/>
          <ac:spMkLst>
            <pc:docMk/>
            <pc:sldMk cId="1886697496" sldId="259"/>
            <ac:spMk id="20" creationId="{66D92D2B-BF20-FECC-E5AB-3F5875EAD515}"/>
          </ac:spMkLst>
        </pc:spChg>
        <pc:spChg chg="del mod">
          <ac:chgData name="Mahalka, Alok" userId="8b5da368-fae3-431a-af6a-84f96258d6d9" providerId="ADAL" clId="{B3122BC5-A107-4E93-9A61-AC181665091F}" dt="2025-07-29T11:34:54.240" v="513"/>
          <ac:spMkLst>
            <pc:docMk/>
            <pc:sldMk cId="1886697496" sldId="259"/>
            <ac:spMk id="21" creationId="{49FF0DC8-BAD0-C104-EBAF-3E7B96296EFC}"/>
          </ac:spMkLst>
        </pc:spChg>
        <pc:spChg chg="mod">
          <ac:chgData name="Mahalka, Alok" userId="8b5da368-fae3-431a-af6a-84f96258d6d9" providerId="ADAL" clId="{B3122BC5-A107-4E93-9A61-AC181665091F}" dt="2025-07-29T11:43:33.957" v="2525"/>
          <ac:spMkLst>
            <pc:docMk/>
            <pc:sldMk cId="1886697496" sldId="259"/>
            <ac:spMk id="22" creationId="{2C3F60A0-3124-E8F1-BBBE-8A58D36CA6BA}"/>
          </ac:spMkLst>
        </pc:spChg>
        <pc:spChg chg="mod">
          <ac:chgData name="Mahalka, Alok" userId="8b5da368-fae3-431a-af6a-84f96258d6d9" providerId="ADAL" clId="{B3122BC5-A107-4E93-9A61-AC181665091F}" dt="2025-07-29T11:43:33.957" v="2521"/>
          <ac:spMkLst>
            <pc:docMk/>
            <pc:sldMk cId="1886697496" sldId="259"/>
            <ac:spMk id="23" creationId="{2E849FE7-1C42-2AF0-F8CC-C1AD1253F1AC}"/>
          </ac:spMkLst>
        </pc:spChg>
        <pc:spChg chg="mod">
          <ac:chgData name="Mahalka, Alok" userId="8b5da368-fae3-431a-af6a-84f96258d6d9" providerId="ADAL" clId="{B3122BC5-A107-4E93-9A61-AC181665091F}" dt="2025-07-29T11:43:29.928" v="2215"/>
          <ac:spMkLst>
            <pc:docMk/>
            <pc:sldMk cId="1886697496" sldId="259"/>
            <ac:spMk id="24" creationId="{0A19904E-8FF9-7CA9-FAB3-98038D14C044}"/>
          </ac:spMkLst>
        </pc:spChg>
        <pc:spChg chg="mod">
          <ac:chgData name="Mahalka, Alok" userId="8b5da368-fae3-431a-af6a-84f96258d6d9" providerId="ADAL" clId="{B3122BC5-A107-4E93-9A61-AC181665091F}" dt="2025-07-29T11:43:29.943" v="2221"/>
          <ac:spMkLst>
            <pc:docMk/>
            <pc:sldMk cId="1886697496" sldId="259"/>
            <ac:spMk id="25" creationId="{DAC76985-B415-8DC2-34AB-1DBE0511E911}"/>
          </ac:spMkLst>
        </pc:spChg>
        <pc:spChg chg="mod">
          <ac:chgData name="Mahalka, Alok" userId="8b5da368-fae3-431a-af6a-84f96258d6d9" providerId="ADAL" clId="{B3122BC5-A107-4E93-9A61-AC181665091F}" dt="2025-07-29T11:43:29.949" v="2226"/>
          <ac:spMkLst>
            <pc:docMk/>
            <pc:sldMk cId="1886697496" sldId="259"/>
            <ac:spMk id="26" creationId="{66FE4D5B-2AEB-33F9-CC96-13C3B18DCE2D}"/>
          </ac:spMkLst>
        </pc:spChg>
        <pc:spChg chg="add del mod modVis">
          <ac:chgData name="Mahalka, Alok" userId="8b5da368-fae3-431a-af6a-84f96258d6d9" providerId="ADAL" clId="{B3122BC5-A107-4E93-9A61-AC181665091F}" dt="2025-07-29T11:35:09.612" v="939"/>
          <ac:spMkLst>
            <pc:docMk/>
            <pc:sldMk cId="1886697496" sldId="259"/>
            <ac:spMk id="34" creationId="{E13C026C-15A4-0BF4-7F93-E9485673E0AE}"/>
          </ac:spMkLst>
        </pc:spChg>
        <pc:spChg chg="mod">
          <ac:chgData name="Mahalka, Alok" userId="8b5da368-fae3-431a-af6a-84f96258d6d9" providerId="ADAL" clId="{B3122BC5-A107-4E93-9A61-AC181665091F}" dt="2025-07-29T11:43:33.905" v="2475"/>
          <ac:spMkLst>
            <pc:docMk/>
            <pc:sldMk cId="1886697496" sldId="259"/>
            <ac:spMk id="35" creationId="{6023A1D7-A3C6-65C6-37E7-0C842DC2BAFD}"/>
          </ac:spMkLst>
        </pc:spChg>
        <pc:spChg chg="mod">
          <ac:chgData name="Mahalka, Alok" userId="8b5da368-fae3-431a-af6a-84f96258d6d9" providerId="ADAL" clId="{B3122BC5-A107-4E93-9A61-AC181665091F}" dt="2025-07-29T11:43:33.905" v="2476"/>
          <ac:spMkLst>
            <pc:docMk/>
            <pc:sldMk cId="1886697496" sldId="259"/>
            <ac:spMk id="36" creationId="{857F0994-088D-1A09-41F9-6BA421E0DA8B}"/>
          </ac:spMkLst>
        </pc:spChg>
        <pc:spChg chg="mod">
          <ac:chgData name="Mahalka, Alok" userId="8b5da368-fae3-431a-af6a-84f96258d6d9" providerId="ADAL" clId="{B3122BC5-A107-4E93-9A61-AC181665091F}" dt="2025-07-29T11:43:33.905" v="2474"/>
          <ac:spMkLst>
            <pc:docMk/>
            <pc:sldMk cId="1886697496" sldId="259"/>
            <ac:spMk id="37" creationId="{E6CB3C9A-9FE2-86E6-055C-FF04FF9599CF}"/>
          </ac:spMkLst>
        </pc:spChg>
        <pc:spChg chg="mod ord">
          <ac:chgData name="Mahalka, Alok" userId="8b5da368-fae3-431a-af6a-84f96258d6d9" providerId="ADAL" clId="{B3122BC5-A107-4E93-9A61-AC181665091F}" dt="2025-07-29T11:43:33.905" v="2477" actId="948"/>
          <ac:spMkLst>
            <pc:docMk/>
            <pc:sldMk cId="1886697496" sldId="259"/>
            <ac:spMk id="38" creationId="{85FBD823-FE85-A94F-1865-4D8F7E1A5A29}"/>
          </ac:spMkLst>
        </pc:spChg>
        <pc:spChg chg="add del mod modVis">
          <ac:chgData name="Mahalka, Alok" userId="8b5da368-fae3-431a-af6a-84f96258d6d9" providerId="ADAL" clId="{B3122BC5-A107-4E93-9A61-AC181665091F}" dt="2025-07-29T11:35:25.085" v="1517"/>
          <ac:spMkLst>
            <pc:docMk/>
            <pc:sldMk cId="1886697496" sldId="259"/>
            <ac:spMk id="39" creationId="{EC9A764F-FF80-71F8-C097-BB1669028B5F}"/>
          </ac:spMkLst>
        </pc:spChg>
        <pc:spChg chg="add del mod modVis">
          <ac:chgData name="Mahalka, Alok" userId="8b5da368-fae3-431a-af6a-84f96258d6d9" providerId="ADAL" clId="{B3122BC5-A107-4E93-9A61-AC181665091F}" dt="2025-07-29T11:35:33.287" v="1668"/>
          <ac:spMkLst>
            <pc:docMk/>
            <pc:sldMk cId="1886697496" sldId="259"/>
            <ac:spMk id="44" creationId="{1A7544A9-E6A8-BC0B-970D-7E423F1C8FEF}"/>
          </ac:spMkLst>
        </pc:spChg>
        <pc:spChg chg="add del mod modVis">
          <ac:chgData name="Mahalka, Alok" userId="8b5da368-fae3-431a-af6a-84f96258d6d9" providerId="ADAL" clId="{B3122BC5-A107-4E93-9A61-AC181665091F}" dt="2025-07-29T11:35:41.586" v="1852"/>
          <ac:spMkLst>
            <pc:docMk/>
            <pc:sldMk cId="1886697496" sldId="259"/>
            <ac:spMk id="45" creationId="{F5B30294-5698-27CC-0106-C2934F83362E}"/>
          </ac:spMkLst>
        </pc:spChg>
        <pc:spChg chg="mod">
          <ac:chgData name="Mahalka, Alok" userId="8b5da368-fae3-431a-af6a-84f96258d6d9" providerId="ADAL" clId="{B3122BC5-A107-4E93-9A61-AC181665091F}" dt="2025-07-29T11:43:33.936" v="2485"/>
          <ac:spMkLst>
            <pc:docMk/>
            <pc:sldMk cId="1886697496" sldId="259"/>
            <ac:spMk id="53" creationId="{2BD89658-6BBE-47AF-9D7F-513212E0CC8D}"/>
          </ac:spMkLst>
        </pc:spChg>
        <pc:spChg chg="mod">
          <ac:chgData name="Mahalka, Alok" userId="8b5da368-fae3-431a-af6a-84f96258d6d9" providerId="ADAL" clId="{B3122BC5-A107-4E93-9A61-AC181665091F}" dt="2025-07-29T11:43:33.936" v="2501"/>
          <ac:spMkLst>
            <pc:docMk/>
            <pc:sldMk cId="1886697496" sldId="259"/>
            <ac:spMk id="54" creationId="{EF148FB8-7954-6531-F2AF-FC7DE4BC055F}"/>
          </ac:spMkLst>
        </pc:spChg>
        <pc:spChg chg="mod">
          <ac:chgData name="Mahalka, Alok" userId="8b5da368-fae3-431a-af6a-84f96258d6d9" providerId="ADAL" clId="{B3122BC5-A107-4E93-9A61-AC181665091F}" dt="2025-07-29T11:43:33.957" v="2517"/>
          <ac:spMkLst>
            <pc:docMk/>
            <pc:sldMk cId="1886697496" sldId="259"/>
            <ac:spMk id="55" creationId="{274F58FB-0A0A-C5F1-B071-1DC8C7AECD49}"/>
          </ac:spMkLst>
        </pc:spChg>
        <pc:spChg chg="mod">
          <ac:chgData name="Mahalka, Alok" userId="8b5da368-fae3-431a-af6a-84f96258d6d9" providerId="ADAL" clId="{B3122BC5-A107-4E93-9A61-AC181665091F}" dt="2025-07-29T11:43:33.936" v="2481"/>
          <ac:spMkLst>
            <pc:docMk/>
            <pc:sldMk cId="1886697496" sldId="259"/>
            <ac:spMk id="58" creationId="{D1FE2270-7220-F08B-7D2E-FA3DAEAC6047}"/>
          </ac:spMkLst>
        </pc:spChg>
        <pc:spChg chg="mod">
          <ac:chgData name="Mahalka, Alok" userId="8b5da368-fae3-431a-af6a-84f96258d6d9" providerId="ADAL" clId="{B3122BC5-A107-4E93-9A61-AC181665091F}" dt="2025-07-29T11:43:33.936" v="2497"/>
          <ac:spMkLst>
            <pc:docMk/>
            <pc:sldMk cId="1886697496" sldId="259"/>
            <ac:spMk id="59" creationId="{D6FB9C72-1AD0-D0A1-D5B8-AEBDE14943B7}"/>
          </ac:spMkLst>
        </pc:spChg>
        <pc:spChg chg="mod">
          <ac:chgData name="Mahalka, Alok" userId="8b5da368-fae3-431a-af6a-84f96258d6d9" providerId="ADAL" clId="{B3122BC5-A107-4E93-9A61-AC181665091F}" dt="2025-07-29T11:43:33.952" v="2513"/>
          <ac:spMkLst>
            <pc:docMk/>
            <pc:sldMk cId="1886697496" sldId="259"/>
            <ac:spMk id="60" creationId="{FE51AD13-ED17-0C85-6225-ABA03C3A6CE9}"/>
          </ac:spMkLst>
        </pc:spChg>
        <pc:spChg chg="del">
          <ac:chgData name="Mahalka, Alok" userId="8b5da368-fae3-431a-af6a-84f96258d6d9" providerId="ADAL" clId="{B3122BC5-A107-4E93-9A61-AC181665091F}" dt="2025-07-29T11:24:54.350" v="14"/>
          <ac:spMkLst>
            <pc:docMk/>
            <pc:sldMk cId="1886697496" sldId="259"/>
            <ac:spMk id="64" creationId="{98C4E5B8-9DEF-E81C-9F6B-5CB9B8A679C4}"/>
          </ac:spMkLst>
        </pc:spChg>
        <pc:spChg chg="del">
          <ac:chgData name="Mahalka, Alok" userId="8b5da368-fae3-431a-af6a-84f96258d6d9" providerId="ADAL" clId="{B3122BC5-A107-4E93-9A61-AC181665091F}" dt="2025-07-29T11:24:54.350" v="2"/>
          <ac:spMkLst>
            <pc:docMk/>
            <pc:sldMk cId="1886697496" sldId="259"/>
            <ac:spMk id="66" creationId="{F2B25C80-B606-D6DC-A78F-735DE4FE891C}"/>
          </ac:spMkLst>
        </pc:spChg>
        <pc:spChg chg="del">
          <ac:chgData name="Mahalka, Alok" userId="8b5da368-fae3-431a-af6a-84f96258d6d9" providerId="ADAL" clId="{B3122BC5-A107-4E93-9A61-AC181665091F}" dt="2025-07-29T11:24:54.350" v="11"/>
          <ac:spMkLst>
            <pc:docMk/>
            <pc:sldMk cId="1886697496" sldId="259"/>
            <ac:spMk id="67" creationId="{4F84F00B-5311-0646-1F72-03769AFD3576}"/>
          </ac:spMkLst>
        </pc:spChg>
        <pc:spChg chg="del">
          <ac:chgData name="Mahalka, Alok" userId="8b5da368-fae3-431a-af6a-84f96258d6d9" providerId="ADAL" clId="{B3122BC5-A107-4E93-9A61-AC181665091F}" dt="2025-07-29T11:24:54.350" v="5"/>
          <ac:spMkLst>
            <pc:docMk/>
            <pc:sldMk cId="1886697496" sldId="259"/>
            <ac:spMk id="68" creationId="{0D454C74-CB76-CAF2-FB5A-E78447ACDBC5}"/>
          </ac:spMkLst>
        </pc:spChg>
        <pc:spChg chg="del">
          <ac:chgData name="Mahalka, Alok" userId="8b5da368-fae3-431a-af6a-84f96258d6d9" providerId="ADAL" clId="{B3122BC5-A107-4E93-9A61-AC181665091F}" dt="2025-07-29T11:24:54.350" v="8"/>
          <ac:spMkLst>
            <pc:docMk/>
            <pc:sldMk cId="1886697496" sldId="259"/>
            <ac:spMk id="69" creationId="{16E5A093-99C2-354E-435D-51E92F52229F}"/>
          </ac:spMkLst>
        </pc:spChg>
        <pc:spChg chg="del">
          <ac:chgData name="Mahalka, Alok" userId="8b5da368-fae3-431a-af6a-84f96258d6d9" providerId="ADAL" clId="{B3122BC5-A107-4E93-9A61-AC181665091F}" dt="2025-07-29T11:24:54.350" v="13"/>
          <ac:spMkLst>
            <pc:docMk/>
            <pc:sldMk cId="1886697496" sldId="259"/>
            <ac:spMk id="71" creationId="{F31246F4-E7A2-8E33-7FF7-7BEB071BB067}"/>
          </ac:spMkLst>
        </pc:spChg>
        <pc:spChg chg="del">
          <ac:chgData name="Mahalka, Alok" userId="8b5da368-fae3-431a-af6a-84f96258d6d9" providerId="ADAL" clId="{B3122BC5-A107-4E93-9A61-AC181665091F}" dt="2025-07-29T11:24:54.350" v="10"/>
          <ac:spMkLst>
            <pc:docMk/>
            <pc:sldMk cId="1886697496" sldId="259"/>
            <ac:spMk id="72" creationId="{8E9A6BB4-2CAB-F48E-3B73-7DD8148F2D53}"/>
          </ac:spMkLst>
        </pc:spChg>
        <pc:spChg chg="del">
          <ac:chgData name="Mahalka, Alok" userId="8b5da368-fae3-431a-af6a-84f96258d6d9" providerId="ADAL" clId="{B3122BC5-A107-4E93-9A61-AC181665091F}" dt="2025-07-29T11:24:54.350" v="7"/>
          <ac:spMkLst>
            <pc:docMk/>
            <pc:sldMk cId="1886697496" sldId="259"/>
            <ac:spMk id="73" creationId="{79F59931-AD54-3E80-E782-2892494AAC63}"/>
          </ac:spMkLst>
        </pc:spChg>
        <pc:spChg chg="del">
          <ac:chgData name="Mahalka, Alok" userId="8b5da368-fae3-431a-af6a-84f96258d6d9" providerId="ADAL" clId="{B3122BC5-A107-4E93-9A61-AC181665091F}" dt="2025-07-29T11:24:54.350" v="4"/>
          <ac:spMkLst>
            <pc:docMk/>
            <pc:sldMk cId="1886697496" sldId="259"/>
            <ac:spMk id="74" creationId="{69128A56-1EAB-2FB1-77A3-8D7ACF65A9EC}"/>
          </ac:spMkLst>
        </pc:spChg>
        <pc:spChg chg="del">
          <ac:chgData name="Mahalka, Alok" userId="8b5da368-fae3-431a-af6a-84f96258d6d9" providerId="ADAL" clId="{B3122BC5-A107-4E93-9A61-AC181665091F}" dt="2025-07-29T11:24:54.336" v="1"/>
          <ac:spMkLst>
            <pc:docMk/>
            <pc:sldMk cId="1886697496" sldId="259"/>
            <ac:spMk id="75" creationId="{4B0AAF15-23DD-3AA1-4868-F5298FCEF22B}"/>
          </ac:spMkLst>
        </pc:spChg>
        <pc:grpChg chg="mod">
          <ac:chgData name="Mahalka, Alok" userId="8b5da368-fae3-431a-af6a-84f96258d6d9" providerId="ADAL" clId="{B3122BC5-A107-4E93-9A61-AC181665091F}" dt="2025-07-29T11:35:25.070" v="1485"/>
          <ac:grpSpMkLst>
            <pc:docMk/>
            <pc:sldMk cId="1886697496" sldId="259"/>
            <ac:grpSpMk id="11" creationId="{274B41F6-B1B9-40D7-388A-25B4C4EE6DC3}"/>
          </ac:grpSpMkLst>
        </pc:grpChg>
        <pc:grpChg chg="mod">
          <ac:chgData name="Mahalka, Alok" userId="8b5da368-fae3-431a-af6a-84f96258d6d9" providerId="ADAL" clId="{B3122BC5-A107-4E93-9A61-AC181665091F}" dt="2025-07-29T11:35:25.070" v="1484"/>
          <ac:grpSpMkLst>
            <pc:docMk/>
            <pc:sldMk cId="1886697496" sldId="259"/>
            <ac:grpSpMk id="12" creationId="{DC8A6E9E-F968-B57C-5886-011577962C7C}"/>
          </ac:grpSpMkLst>
        </pc:grpChg>
        <pc:graphicFrameChg chg="add del mod">
          <ac:chgData name="Mahalka, Alok" userId="8b5da368-fae3-431a-af6a-84f96258d6d9" providerId="ADAL" clId="{B3122BC5-A107-4E93-9A61-AC181665091F}" dt="2025-07-29T11:34:45.059" v="273"/>
          <ac:graphicFrameMkLst>
            <pc:docMk/>
            <pc:sldMk cId="1886697496" sldId="259"/>
            <ac:graphicFrameMk id="27" creationId="{EA05FC12-9F26-6941-3878-C7CF438DFE4F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6.693" v="366"/>
          <ac:graphicFrameMkLst>
            <pc:docMk/>
            <pc:sldMk cId="1886697496" sldId="259"/>
            <ac:graphicFrameMk id="29" creationId="{194B66D4-E903-A8E8-C2BE-0842896D50D2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8.701" v="459"/>
          <ac:graphicFrameMkLst>
            <pc:docMk/>
            <pc:sldMk cId="1886697496" sldId="259"/>
            <ac:graphicFrameMk id="31" creationId="{9AE09C70-F4CC-ADEF-69A5-E3499C47CCAC}"/>
          </ac:graphicFrameMkLst>
        </pc:graphicFrameChg>
        <pc:graphicFrameChg chg="add mod">
          <ac:chgData name="Mahalka, Alok" userId="8b5da368-fae3-431a-af6a-84f96258d6d9" providerId="ADAL" clId="{B3122BC5-A107-4E93-9A61-AC181665091F}" dt="2025-07-29T11:35:25.070" v="1488"/>
          <ac:graphicFrameMkLst>
            <pc:docMk/>
            <pc:sldMk cId="1886697496" sldId="259"/>
            <ac:graphicFrameMk id="33" creationId="{7379CFB2-E68F-2CC5-09B2-896AD2F11E9D}"/>
          </ac:graphicFrameMkLst>
        </pc:graphicFrameChg>
        <pc:graphicFrameChg chg="mod">
          <ac:chgData name="Mahalka, Alok" userId="8b5da368-fae3-431a-af6a-84f96258d6d9" providerId="ADAL" clId="{B3122BC5-A107-4E93-9A61-AC181665091F}" dt="2025-07-29T11:43:33.957" v="2529"/>
          <ac:graphicFrameMkLst>
            <pc:docMk/>
            <pc:sldMk cId="1886697496" sldId="259"/>
            <ac:graphicFrameMk id="40" creationId="{B55195F6-DFA9-1A91-FE78-5D6A1AC36DBD}"/>
          </ac:graphicFrameMkLst>
        </pc:graphicFrameChg>
        <pc:graphicFrameChg chg="del">
          <ac:chgData name="Mahalka, Alok" userId="8b5da368-fae3-431a-af6a-84f96258d6d9" providerId="ADAL" clId="{B3122BC5-A107-4E93-9A61-AC181665091F}" dt="2025-07-29T11:25:00.809" v="112"/>
          <ac:graphicFrameMkLst>
            <pc:docMk/>
            <pc:sldMk cId="1886697496" sldId="259"/>
            <ac:graphicFrameMk id="76" creationId="{FD31225C-D809-6287-1711-9CCB734C4830}"/>
          </ac:graphicFrameMkLst>
        </pc:graphicFrameChg>
        <pc:cxnChg chg="add del mod ord">
          <ac:chgData name="Mahalka, Alok" userId="8b5da368-fae3-431a-af6a-84f96258d6d9" providerId="ADAL" clId="{B3122BC5-A107-4E93-9A61-AC181665091F}" dt="2025-07-29T11:34:54.240" v="509"/>
          <ac:cxnSpMkLst>
            <pc:docMk/>
            <pc:sldMk cId="1886697496" sldId="259"/>
            <ac:cxnSpMk id="28" creationId="{FC5346B7-D4EF-788D-8473-98C9214665CA}"/>
          </ac:cxnSpMkLst>
        </pc:cxnChg>
        <pc:cxnChg chg="add del mod ord">
          <ac:chgData name="Mahalka, Alok" userId="8b5da368-fae3-431a-af6a-84f96258d6d9" providerId="ADAL" clId="{B3122BC5-A107-4E93-9A61-AC181665091F}" dt="2025-07-29T11:34:54.254" v="515"/>
          <ac:cxnSpMkLst>
            <pc:docMk/>
            <pc:sldMk cId="1886697496" sldId="259"/>
            <ac:cxnSpMk id="30" creationId="{B7DECC8C-B3CD-1811-9D71-88EE0510F07F}"/>
          </ac:cxnSpMkLst>
        </pc:cxnChg>
        <pc:cxnChg chg="add del mod ord">
          <ac:chgData name="Mahalka, Alok" userId="8b5da368-fae3-431a-af6a-84f96258d6d9" providerId="ADAL" clId="{B3122BC5-A107-4E93-9A61-AC181665091F}" dt="2025-07-29T11:34:54.240" v="512"/>
          <ac:cxnSpMkLst>
            <pc:docMk/>
            <pc:sldMk cId="1886697496" sldId="259"/>
            <ac:cxnSpMk id="32" creationId="{2DB46355-6BB1-2EBD-1C06-6E5F1DAACCD8}"/>
          </ac:cxnSpMkLst>
        </pc:cxnChg>
        <pc:cxnChg chg="add del mod ord">
          <ac:chgData name="Mahalka, Alok" userId="8b5da368-fae3-431a-af6a-84f96258d6d9" providerId="ADAL" clId="{B3122BC5-A107-4E93-9A61-AC181665091F}" dt="2025-07-29T11:35:33.224" v="1573"/>
          <ac:cxnSpMkLst>
            <pc:docMk/>
            <pc:sldMk cId="1886697496" sldId="259"/>
            <ac:cxnSpMk id="41" creationId="{96D7CC72-9EA2-8781-F53C-E3D8EA6134E3}"/>
          </ac:cxnSpMkLst>
        </pc:cxnChg>
        <pc:cxnChg chg="add del mod ord">
          <ac:chgData name="Mahalka, Alok" userId="8b5da368-fae3-431a-af6a-84f96258d6d9" providerId="ADAL" clId="{B3122BC5-A107-4E93-9A61-AC181665091F}" dt="2025-07-29T11:35:33.256" v="1610"/>
          <ac:cxnSpMkLst>
            <pc:docMk/>
            <pc:sldMk cId="1886697496" sldId="259"/>
            <ac:cxnSpMk id="42" creationId="{DDF9F534-F1BC-2EC9-8D04-33059CF610AE}"/>
          </ac:cxnSpMkLst>
        </pc:cxnChg>
        <pc:cxnChg chg="add del mod ord">
          <ac:chgData name="Mahalka, Alok" userId="8b5da368-fae3-431a-af6a-84f96258d6d9" providerId="ADAL" clId="{B3122BC5-A107-4E93-9A61-AC181665091F}" dt="2025-07-29T11:35:33.272" v="1647"/>
          <ac:cxnSpMkLst>
            <pc:docMk/>
            <pc:sldMk cId="1886697496" sldId="259"/>
            <ac:cxnSpMk id="43" creationId="{7FB07B79-7A1A-A1DC-7018-6992011618BD}"/>
          </ac:cxnSpMkLst>
        </pc:cxnChg>
      </pc:sldChg>
    </pc:docChg>
  </pc:docChgLst>
  <pc:docChgLst>
    <pc:chgData name="Mahalka, Alok" userId="8b5da368-fae3-431a-af6a-84f96258d6d9" providerId="ADAL" clId="{8CF245BD-D01D-47AC-892D-9299D491A113}"/>
    <pc:docChg chg="delSld">
      <pc:chgData name="Mahalka, Alok" userId="8b5da368-fae3-431a-af6a-84f96258d6d9" providerId="ADAL" clId="{8CF245BD-D01D-47AC-892D-9299D491A113}" dt="2025-08-08T05:21:14.639" v="1" actId="47"/>
      <pc:docMkLst>
        <pc:docMk/>
      </pc:docMkLst>
      <pc:sldChg chg="del">
        <pc:chgData name="Mahalka, Alok" userId="8b5da368-fae3-431a-af6a-84f96258d6d9" providerId="ADAL" clId="{8CF245BD-D01D-47AC-892D-9299D491A113}" dt="2025-08-08T05:21:13.237" v="0" actId="47"/>
        <pc:sldMkLst>
          <pc:docMk/>
          <pc:sldMk cId="1487759490" sldId="257"/>
        </pc:sldMkLst>
      </pc:sldChg>
      <pc:sldChg chg="del">
        <pc:chgData name="Mahalka, Alok" userId="8b5da368-fae3-431a-af6a-84f96258d6d9" providerId="ADAL" clId="{8CF245BD-D01D-47AC-892D-9299D491A113}" dt="2025-08-08T05:21:14.639" v="1" actId="47"/>
        <pc:sldMkLst>
          <pc:docMk/>
          <pc:sldMk cId="879657021" sldId="25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095305032330618E-3"/>
          <c:y val="2.2727272727272728E-2"/>
          <c:w val="0.98538093899353385"/>
          <c:h val="0.954545454545454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D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6.666666666666668</c:v>
                </c:pt>
                <c:pt idx="1">
                  <c:v>26.666666666666668</c:v>
                </c:pt>
                <c:pt idx="2">
                  <c:v>26.666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07-4500-AF20-2A5AF31F3B6F}"/>
            </c:ext>
          </c:extLst>
        </c:ser>
        <c:ser>
          <c:idx val="1"/>
          <c:order val="1"/>
          <c:spPr>
            <a:solidFill>
              <a:srgbClr val="46647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3.333333333333336</c:v>
                </c:pt>
                <c:pt idx="1">
                  <c:v>13.333333333333336</c:v>
                </c:pt>
                <c:pt idx="2">
                  <c:v>13.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07-4500-AF20-2A5AF31F3B6F}"/>
            </c:ext>
          </c:extLst>
        </c:ser>
        <c:ser>
          <c:idx val="2"/>
          <c:order val="2"/>
          <c:spPr>
            <a:solidFill>
              <a:srgbClr val="7891A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33.333333333333336</c:v>
                </c:pt>
                <c:pt idx="1">
                  <c:v>33.333333333333336</c:v>
                </c:pt>
                <c:pt idx="2">
                  <c:v>33.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07-4500-AF20-2A5AF31F3B6F}"/>
            </c:ext>
          </c:extLst>
        </c:ser>
        <c:ser>
          <c:idx val="3"/>
          <c:order val="3"/>
          <c:spPr>
            <a:solidFill>
              <a:srgbClr val="A3BCD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26.666666666666661</c:v>
                </c:pt>
                <c:pt idx="1">
                  <c:v>26.666666666666661</c:v>
                </c:pt>
                <c:pt idx="2">
                  <c:v>26.666666666666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207-4500-AF20-2A5AF31F3B6F}"/>
            </c:ext>
          </c:extLst>
        </c:ser>
        <c:ser>
          <c:idx val="4"/>
          <c:order val="4"/>
          <c:spPr>
            <a:solidFill>
              <a:srgbClr val="DCE5E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207-4500-AF20-2A5AF31F3B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9370287"/>
        <c:axId val="1"/>
      </c:barChart>
      <c:catAx>
        <c:axId val="639370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crossAx val="6393702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1.emf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oleObject" Target="../embeddings/oleObject2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B55195F6-DFA9-1A91-FE78-5D6A1AC36D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589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06" imgH="608" progId="TCLayout.ActiveDocument.1">
                  <p:embed/>
                </p:oleObj>
              </mc:Choice>
              <mc:Fallback>
                <p:oleObj name="think-cell Slide" r:id="rId25" imgW="606" imgH="608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195F6-DFA9-1A91-FE78-5D6A1AC36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DC8A6E9E-F968-B57C-5886-011577962C7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627909">
              <a:extLst>
                <a:ext uri="{FF2B5EF4-FFF2-40B4-BE49-F238E27FC236}">
                  <a16:creationId xmlns:a16="http://schemas.microsoft.com/office/drawing/2014/main" id="{0E6E48E7-35EE-A090-F616-9A271BFAAC0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81019">
              <a:extLst>
                <a:ext uri="{FF2B5EF4-FFF2-40B4-BE49-F238E27FC236}">
                  <a16:creationId xmlns:a16="http://schemas.microsoft.com/office/drawing/2014/main" id="{9FC186F0-19CB-D236-4E8D-F59F56C7980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06429">
              <a:extLst>
                <a:ext uri="{FF2B5EF4-FFF2-40B4-BE49-F238E27FC236}">
                  <a16:creationId xmlns:a16="http://schemas.microsoft.com/office/drawing/2014/main" id="{4DD2CFD3-0DCA-0B01-E84A-943CA0B1203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66284">
              <a:extLst>
                <a:ext uri="{FF2B5EF4-FFF2-40B4-BE49-F238E27FC236}">
                  <a16:creationId xmlns:a16="http://schemas.microsoft.com/office/drawing/2014/main" id="{6877CFD0-6781-518E-7847-3959A94642E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74B41F6-B1B9-40D7-388A-25B4C4EE6DC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986887">
              <a:extLst>
                <a:ext uri="{FF2B5EF4-FFF2-40B4-BE49-F238E27FC236}">
                  <a16:creationId xmlns:a16="http://schemas.microsoft.com/office/drawing/2014/main" id="{7EFB92DA-7052-2C81-4C2E-1AE17EFB278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23660">
              <a:extLst>
                <a:ext uri="{FF2B5EF4-FFF2-40B4-BE49-F238E27FC236}">
                  <a16:creationId xmlns:a16="http://schemas.microsoft.com/office/drawing/2014/main" id="{BAE1B5EE-40BE-E35E-35A1-73A48E33A7B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40422">
              <a:extLst>
                <a:ext uri="{FF2B5EF4-FFF2-40B4-BE49-F238E27FC236}">
                  <a16:creationId xmlns:a16="http://schemas.microsoft.com/office/drawing/2014/main" id="{C0FC6903-DD67-31F9-5427-1671AAAD4D7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4854">
              <a:extLst>
                <a:ext uri="{FF2B5EF4-FFF2-40B4-BE49-F238E27FC236}">
                  <a16:creationId xmlns:a16="http://schemas.microsoft.com/office/drawing/2014/main" id="{92E04945-8D5E-3EF0-CB61-A72C22AA934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33B0E35-C72A-C14B-6AF6-34F1F7DC4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Choice Type</a:t>
            </a:r>
            <a:endParaRPr lang="en-US" dirty="0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379CFB2-E68F-2CC5-09B2-896AD2F11E9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0009226"/>
              </p:ext>
            </p:extLst>
          </p:nvPr>
        </p:nvGraphicFramePr>
        <p:xfrm>
          <a:off x="646113" y="2011363"/>
          <a:ext cx="11293475" cy="363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3CBE836-1135-42D8-2573-F33D146B35C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30200" y="1835150"/>
            <a:ext cx="798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  <a:effectLst/>
                <a:cs typeface="+mn-cs"/>
              </a:rPr>
              <a:t># respondents</a:t>
            </a:r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3A9A3D4-B61D-87F2-915D-F999FE96E25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530475" y="247967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3A1C77A-F4CD-43C2-B973-7869BC31F003}" type="datetime'''4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237C8D8-ECEE-99EF-891B-72354F890DC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530475" y="35194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E4A8290-D1C9-43D4-A7E3-1420D2F8825E}" type="datetime'''5''''''''''''''''''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BD89658-6BBE-47AF-9D7F-513212E0CC8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530475" y="43291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A0996D-E5A3-4431-8808-31890F7BBB3B}" type="datetime'''''''''''''''''''''''''''''''''''''''''2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1FE2270-7220-F08B-7D2E-FA3DAEAC604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530475" y="50228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480D460-7DE3-486B-8454-35E27B6D6971}" type="datetime'''''''4''''''''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EB32C39-1AFE-48B6-51FC-5E7D873B346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240463" y="247967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702FFBD-AA3B-41F7-842D-F6884B2C3E3D}" type="datetime'''''''''''''''''''''4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D92D2B-BF20-FECC-E5AB-3F5875EAD51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240463" y="35194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5375BE7-9841-447D-A399-47B9F5BAC9FA}" type="datetime'''''''''''''''''''''''''''''''''5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F148FB8-7954-6531-F2AF-FC7DE4BC055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240463" y="43291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70D77D4D-BC14-4D47-B580-C10771371BC5}" type="datetime'''''''''''''2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6FB9C72-1AD0-D0A1-D5B8-AEBDE14943B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240463" y="50228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445CCC7D-64F8-429A-8825-D6CE00021ECD}" type="datetime'''''''''''''''''''''''''''''''''''''''4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C3F60A0-3124-E8F1-BBBE-8A58D36CA6B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9948863" y="247967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5A8DB7DD-7DE8-4517-9CCF-C506ADE809A2}" type="datetime'''''''''''''''''''4''''''''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E849FE7-1C42-2AF0-F8CC-C1AD1253F1A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9948863" y="35194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65015C9-3A44-4F28-B786-A4D8E6AC97B9}" type="datetime'''''''''''''''''''''5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74F58FB-0A0A-C5F1-B071-1DC8C7AECD4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9948863" y="43291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BD43537F-CB4E-4170-9AE7-E4F405DB338E}" type="datetime'2''''''''''''''''''''''''''''''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E51AD13-ED17-0C85-6225-ABA03C3A6CE9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9948863" y="50228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923CEB2-079D-464B-B343-D381E92C0490}" type="datetime'''''''4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A19904E-8FF9-7CA9-FAB3-98038D14C04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495550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D3D3BFD2-0EB7-49D0-89C1-7B4BA324A0ED}" type="datetime'''''''''''''''''''1''''''''''''''''''''''''''5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5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AC76985-B415-8DC2-34AB-1DBE0511E91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205538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8B12530-8B03-487D-944A-FD0D6F00E14F}" type="datetime'''''''''''15''''''''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5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6FE4D5B-2AEB-33F9-CC96-13C3B18DCE2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9913938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A7E63C1F-D53C-46DD-A057-2E6107C4FE35}" type="datetime'''''''''''''''''''''''''1''''''''''''5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5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6023A1D7-A3C6-65C6-37E7-0C842DC2BAF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728663" y="5565775"/>
            <a:ext cx="3708400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0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66091C-04D4-4938-AE7D-9FDBAAC5A944}" type="datetime'''''''''H''''''''''''''''''e''''ad''e''''''''''''''''''r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857F0994-088D-1A09-41F9-6BA421E0DA8B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437063" y="5565775"/>
            <a:ext cx="3711575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0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68B9FE-7648-4D30-812F-F6DF35C6BCD8}" type="datetime'''H''e''''''''''''''''''''a''''''''''''''''d''''''''er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E6CB3C9A-9FE2-86E6-055C-FF04FF9599C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148638" y="5565775"/>
            <a:ext cx="3708400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12713" rIns="1588" bIns="1111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B42F099-52F7-4735-BAE6-FAA78F9A2030}" type="datetime'''''''''''H''e''ad''''''e''r'''''''''''''''''''''''">
              <a:rPr lang="en-US" altLang="en-US" sz="1000" smtClean="0">
                <a:solidFill>
                  <a:srgbClr val="000000"/>
                </a:solidFill>
              </a:rPr>
              <a:pPr/>
              <a:t>Head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5FBD823-FE85-A94F-1865-4D8F7E1A5A2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30200" y="1270000"/>
            <a:ext cx="11531600" cy="438150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112713" rIns="0" bIns="112713" numCol="1" spcCol="0" rtlCol="0" anchor="ctr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20B808D-BE3D-4293-8773-956E0BCB14C3}" type="thinkcell&lt;?xml version=&quot;1.0&quot; encoding=&quot;UTF-16&quot; standalone=&quot;yes&quot;?&gt;&lt;root reqver=&quot;30783&quot;&gt;&lt;version val=&quot;36904&quot;/&gt;&lt;PersistentType&gt;&lt;m_varval type=&quot;5&quot;&gt;&lt;/m_varval&gt;&lt;m_vecbMoniker&gt;&lt;/m_vecbMoniker&gt;&lt;m_prec&gt;&lt;m_yearfmt&gt;&lt;begin val=&quot;0&quot;/&gt;&lt;end val=&quot;4&quot;/&gt;&lt;/m_yearfmt&gt;&lt;/m_prec&gt;&lt;m_bUseExcelFont val=&quot;0&quot;/&gt;&lt;m_bUseExcelFontColor val=&quot;0&quot;/&gt;&lt;m_strName&gt;QuestionTextSingle&lt;/m_strName&gt;&lt;/PersistentType&gt;&lt;/root&gt;">
              <a:rPr lang="en-US" altLang="en-US" sz="1400" b="1" i="1" smtClean="0">
                <a:solidFill>
                  <a:srgbClr val="000000"/>
                </a:solidFill>
                <a:effectLst/>
                <a:latin typeface="+mn-lt"/>
                <a:cs typeface="+mn-cs"/>
              </a:rPr>
              <a:pPr/>
              <a:t>&lt;QuestionTextSingle&gt;</a:t>
            </a:fld>
            <a:endParaRPr lang="en-US" sz="1400" b="1" i="1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697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Boston"/>
  <p:tag name="THINKCELLPRESENTATIONDONOTDELETE" val="&lt;?xml version=&quot;1.0&quot; encoding=&quot;UTF-16&quot; standalone=&quot;yes&quot;?&gt;&lt;root reqver=&quot;30783&quot;&gt;&lt;version val=&quot;369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poElB57FJt8zffDHcH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iJdVbmWqp_zQPhIkfC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5_bhNNjnJkupaEoIg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KH4rckNJDgAckypyT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pF8HvDQLUnuM.NsR4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XUobCkxEz7gjSnC4c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7t43ZEO7LFd0KnjcF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EeJ4f0I9Fy7qHslnme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NpTVd4zGUQbtxhIYVw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1UA0BVNGguxj.4nVC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uaSuOTfn01prr7IMH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2bsyZWsEbWbcZ1c0G0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jEpse76Lf1JR9ja9q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C1P6gnFlLFoO9o3iUC8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ds4qf5n449wZbooQPD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4Qf3t8gia9j_pF_6s4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ADgoNpz8vbOcFTgw7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6791GszNdvzd7JjGL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SQo5rjMdaMiJR_L1lr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6c7WenCmbYkTsLso_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krDkAyW_dQb7doBaxQ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1645</TotalTime>
  <Words>24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Bain Core</vt:lpstr>
      <vt:lpstr>think-cell Slide</vt:lpstr>
      <vt:lpstr>Single Choice Typ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halka, Alok</dc:creator>
  <cp:lastModifiedBy>Mahalka, Alok</cp:lastModifiedBy>
  <cp:revision>2</cp:revision>
  <cp:lastPrinted>2017-02-15T14:23:56Z</cp:lastPrinted>
  <dcterms:created xsi:type="dcterms:W3CDTF">2025-06-18T11:03:16Z</dcterms:created>
  <dcterms:modified xsi:type="dcterms:W3CDTF">2025-08-08T05:21:23Z</dcterms:modified>
</cp:coreProperties>
</file>